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2" r:id="rId1"/>
  </p:sldMasterIdLst>
  <p:notesMasterIdLst>
    <p:notesMasterId r:id="rId12"/>
  </p:notesMasterIdLst>
  <p:sldIdLst>
    <p:sldId id="270" r:id="rId2"/>
    <p:sldId id="271" r:id="rId3"/>
    <p:sldId id="360" r:id="rId4"/>
    <p:sldId id="356" r:id="rId5"/>
    <p:sldId id="343" r:id="rId6"/>
    <p:sldId id="358" r:id="rId7"/>
    <p:sldId id="345" r:id="rId8"/>
    <p:sldId id="359" r:id="rId9"/>
    <p:sldId id="346" r:id="rId10"/>
    <p:sldId id="357" r:id="rId11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087"/>
    <a:srgbClr val="F1C400"/>
    <a:srgbClr val="6CACE4"/>
    <a:srgbClr val="E35205"/>
    <a:srgbClr val="00AC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178"/>
    <p:restoredTop sz="95857" autoAdjust="0"/>
  </p:normalViewPr>
  <p:slideViewPr>
    <p:cSldViewPr snapToGrid="0">
      <p:cViewPr varScale="1">
        <p:scale>
          <a:sx n="113" d="100"/>
          <a:sy n="113" d="100"/>
        </p:scale>
        <p:origin x="82" y="24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6FA829-EDA7-9943-8B97-609E7847197B}" type="datetimeFigureOut">
              <a:rPr lang="en-US" smtClean="0"/>
              <a:t>5/18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177105-CBA0-4244-8F4C-292AB8B999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64576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LLEGE BRANDING: https://www.seminolestate.edu/crm/logo  |  COLLEGE PHOTOGRAPHY: https://seminolestate.photoshelter.com   |   COLLEGE VIDEOS: https://www.youtube.com/SeminoleStateColleg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5F9EF3-427B-904E-96C1-8B3FD7FBBAC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48494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5288" y="692150"/>
            <a:ext cx="6159500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00059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5288" y="692150"/>
            <a:ext cx="6159500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30416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5288" y="692150"/>
            <a:ext cx="6159500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59740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5288" y="692150"/>
            <a:ext cx="6159500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47877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27551-CA3A-5C42-B847-50C18ADD64CC}" type="datetimeFigureOut">
              <a:rPr lang="en-US" smtClean="0"/>
              <a:t>5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38088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27551-CA3A-5C42-B847-50C18ADD64CC}" type="datetimeFigureOut">
              <a:rPr lang="en-US" smtClean="0"/>
              <a:t>5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23261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27551-CA3A-5C42-B847-50C18ADD64CC}" type="datetimeFigureOut">
              <a:rPr lang="en-US" smtClean="0"/>
              <a:t>5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2756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30CBE67-688C-4973-9FE6-C6D22DF8B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8798467"/>
              </p:ext>
            </p:extLst>
          </p:nvPr>
        </p:nvGraphicFramePr>
        <p:xfrm>
          <a:off x="1192" y="1192"/>
          <a:ext cx="119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30CBE67-688C-4973-9FE6-C6D22DF8B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744987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4CDF0DA-0912-46C6-A73B-807DE0ADD6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694210"/>
              </p:ext>
            </p:extLst>
          </p:nvPr>
        </p:nvGraphicFramePr>
        <p:xfrm>
          <a:off x="1192" y="1192"/>
          <a:ext cx="119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4CDF0DA-0912-46C6-A73B-807DE0ADD6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397759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27551-CA3A-5C42-B847-50C18ADD64CC}" type="datetimeFigureOut">
              <a:rPr lang="en-US" smtClean="0"/>
              <a:t>5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49235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27551-CA3A-5C42-B847-50C18ADD64CC}" type="datetimeFigureOut">
              <a:rPr lang="en-US" smtClean="0"/>
              <a:t>5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71381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27551-CA3A-5C42-B847-50C18ADD64CC}" type="datetimeFigureOut">
              <a:rPr lang="en-US" smtClean="0"/>
              <a:t>5/18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28659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27551-CA3A-5C42-B847-50C18ADD64CC}" type="datetimeFigureOut">
              <a:rPr lang="en-US" smtClean="0"/>
              <a:t>5/18/20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0472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27551-CA3A-5C42-B847-50C18ADD64CC}" type="datetimeFigureOut">
              <a:rPr lang="en-US" smtClean="0"/>
              <a:t>5/18/20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8198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27551-CA3A-5C42-B847-50C18ADD64CC}" type="datetimeFigureOut">
              <a:rPr lang="en-US" smtClean="0"/>
              <a:t>5/18/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05696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27551-CA3A-5C42-B847-50C18ADD64CC}" type="datetimeFigureOut">
              <a:rPr lang="en-US" smtClean="0"/>
              <a:t>5/18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84365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27551-CA3A-5C42-B847-50C18ADD64CC}" type="datetimeFigureOut">
              <a:rPr lang="en-US" smtClean="0"/>
              <a:t>5/18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56253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D27551-CA3A-5C42-B847-50C18ADD64CC}" type="datetimeFigureOut">
              <a:rPr lang="en-US" smtClean="0"/>
              <a:t>5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025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eminolestate.edu/crm/logo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seminolestate.photoshelter.com/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2C84D3-8069-CF67-4AEC-EA7D4549F70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-1790700"/>
            <a:ext cx="6858000" cy="1790700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1500" dirty="0"/>
              <a:t>Template Branding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32DFF50-4106-4185-9176-227CB17C6ACA}"/>
              </a:ext>
            </a:extLst>
          </p:cNvPr>
          <p:cNvSpPr txBox="1"/>
          <p:nvPr/>
        </p:nvSpPr>
        <p:spPr>
          <a:xfrm>
            <a:off x="522197" y="595818"/>
            <a:ext cx="24406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ege Brand Colors:</a:t>
            </a:r>
            <a:endParaRPr lang="en-US" sz="16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 descr="decorative blue slot">
            <a:extLst>
              <a:ext uri="{FF2B5EF4-FFF2-40B4-BE49-F238E27FC236}">
                <a16:creationId xmlns:a16="http://schemas.microsoft.com/office/drawing/2014/main" id="{1BF16AD7-0A64-411B-A4F5-CD079CF1F40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611846" y="1008534"/>
            <a:ext cx="275665" cy="672352"/>
          </a:xfrm>
          <a:prstGeom prst="rect">
            <a:avLst/>
          </a:prstGeom>
          <a:solidFill>
            <a:srgbClr val="003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Rectangle 8" descr="decorative gold slot">
            <a:extLst>
              <a:ext uri="{FF2B5EF4-FFF2-40B4-BE49-F238E27FC236}">
                <a16:creationId xmlns:a16="http://schemas.microsoft.com/office/drawing/2014/main" id="{6EBF89BC-D482-410D-A85E-FFD237D31D2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611845" y="1680885"/>
            <a:ext cx="275665" cy="672352"/>
          </a:xfrm>
          <a:prstGeom prst="rect">
            <a:avLst/>
          </a:prstGeom>
          <a:solidFill>
            <a:srgbClr val="F1C4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 descr="decorative cyan slot">
            <a:extLst>
              <a:ext uri="{FF2B5EF4-FFF2-40B4-BE49-F238E27FC236}">
                <a16:creationId xmlns:a16="http://schemas.microsoft.com/office/drawing/2014/main" id="{3646E910-9527-46C1-8FA5-481FF264C0E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611846" y="2353238"/>
            <a:ext cx="275665" cy="672352"/>
          </a:xfrm>
          <a:prstGeom prst="rect">
            <a:avLst/>
          </a:prstGeom>
          <a:solidFill>
            <a:srgbClr val="00AC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Rectangle 11" descr="decorative light blue slot">
            <a:extLst>
              <a:ext uri="{FF2B5EF4-FFF2-40B4-BE49-F238E27FC236}">
                <a16:creationId xmlns:a16="http://schemas.microsoft.com/office/drawing/2014/main" id="{F04859DA-9B9E-4A5B-BB46-D70EF5C24E1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611846" y="3027324"/>
            <a:ext cx="275665" cy="672352"/>
          </a:xfrm>
          <a:prstGeom prst="rect">
            <a:avLst/>
          </a:prstGeom>
          <a:solidFill>
            <a:srgbClr val="6CAC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BDA005E-6224-4085-BDE8-26F8126B8568}"/>
              </a:ext>
            </a:extLst>
          </p:cNvPr>
          <p:cNvSpPr txBox="1"/>
          <p:nvPr/>
        </p:nvSpPr>
        <p:spPr>
          <a:xfrm>
            <a:off x="1109387" y="1066431"/>
            <a:ext cx="150607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Helvetica" pitchFamily="2" charset="0"/>
              </a:rPr>
              <a:t>Dark Blue</a:t>
            </a:r>
            <a:br>
              <a:rPr lang="en-US" sz="1400" dirty="0">
                <a:latin typeface="Helvetica" pitchFamily="2" charset="0"/>
              </a:rPr>
            </a:br>
            <a:r>
              <a:rPr lang="en-US" sz="1400" dirty="0">
                <a:latin typeface="Helvetica" pitchFamily="2" charset="0"/>
              </a:rPr>
              <a:t>RGB: 0, 48, 135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ACD8DA4-A6AD-4497-949D-11BE80BA43F3}"/>
              </a:ext>
            </a:extLst>
          </p:cNvPr>
          <p:cNvSpPr txBox="1"/>
          <p:nvPr/>
        </p:nvSpPr>
        <p:spPr>
          <a:xfrm>
            <a:off x="1109387" y="1758955"/>
            <a:ext cx="18534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Helvetica" pitchFamily="2" charset="0"/>
              </a:rPr>
              <a:t>Bright Gold</a:t>
            </a:r>
            <a:endParaRPr lang="en-US" sz="1400" dirty="0">
              <a:latin typeface="Helvetica" pitchFamily="2" charset="0"/>
            </a:endParaRPr>
          </a:p>
          <a:p>
            <a:r>
              <a:rPr lang="en-US" sz="1400" dirty="0">
                <a:latin typeface="Helvetica" pitchFamily="2" charset="0"/>
              </a:rPr>
              <a:t>RGB: 241, 196, 0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FFC4ED2-C332-47A0-981C-DD03A1CD04C9}"/>
              </a:ext>
            </a:extLst>
          </p:cNvPr>
          <p:cNvSpPr txBox="1"/>
          <p:nvPr/>
        </p:nvSpPr>
        <p:spPr>
          <a:xfrm>
            <a:off x="1109386" y="2417979"/>
            <a:ext cx="170777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Helvetica" pitchFamily="2" charset="0"/>
              </a:rPr>
              <a:t>Cyan</a:t>
            </a:r>
            <a:br>
              <a:rPr lang="en-US" sz="1400" dirty="0">
                <a:latin typeface="Helvetica" pitchFamily="2" charset="0"/>
              </a:rPr>
            </a:br>
            <a:r>
              <a:rPr lang="en-US" sz="1400" dirty="0">
                <a:latin typeface="Helvetica" pitchFamily="2" charset="0"/>
              </a:rPr>
              <a:t>RGB: 0, 172, 237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8202FF2-2FAC-4D7F-B8FA-67C01D43F66A}"/>
              </a:ext>
            </a:extLst>
          </p:cNvPr>
          <p:cNvSpPr txBox="1"/>
          <p:nvPr/>
        </p:nvSpPr>
        <p:spPr>
          <a:xfrm>
            <a:off x="1109386" y="3128397"/>
            <a:ext cx="21467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Helvetica" pitchFamily="2" charset="0"/>
              </a:rPr>
              <a:t>Light Blue</a:t>
            </a:r>
            <a:br>
              <a:rPr lang="en-US" sz="1400" dirty="0">
                <a:latin typeface="Helvetica" pitchFamily="2" charset="0"/>
              </a:rPr>
            </a:br>
            <a:r>
              <a:rPr lang="en-US" sz="1400" dirty="0">
                <a:latin typeface="Helvetica" pitchFamily="2" charset="0"/>
              </a:rPr>
              <a:t>RGB: 108, 172, 228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5D600DD-4A53-380F-9CE0-164A7ACF91E1}"/>
              </a:ext>
            </a:extLst>
          </p:cNvPr>
          <p:cNvSpPr txBox="1"/>
          <p:nvPr/>
        </p:nvSpPr>
        <p:spPr>
          <a:xfrm>
            <a:off x="3422295" y="565122"/>
            <a:ext cx="528807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Helvetica" pitchFamily="2" charset="0"/>
              </a:rPr>
              <a:t>This PowerPoint is intended as a template. Please revise as needed for your presentation: update words and images, move elements, delete unused pages, etc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2EA09F6-EC3C-4137-B576-D540ACCA084E}"/>
              </a:ext>
            </a:extLst>
          </p:cNvPr>
          <p:cNvSpPr txBox="1"/>
          <p:nvPr/>
        </p:nvSpPr>
        <p:spPr>
          <a:xfrm>
            <a:off x="3422295" y="2115441"/>
            <a:ext cx="22949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anding Resources:</a:t>
            </a:r>
            <a:endParaRPr lang="en-US" sz="16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03AB5ED-5442-4682-A29C-C1B372A74FA2}"/>
              </a:ext>
            </a:extLst>
          </p:cNvPr>
          <p:cNvSpPr txBox="1"/>
          <p:nvPr/>
        </p:nvSpPr>
        <p:spPr>
          <a:xfrm>
            <a:off x="3422295" y="2506863"/>
            <a:ext cx="45159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Helvetica" pitchFamily="2" charset="0"/>
              </a:rPr>
              <a:t>College Brand Guidelines</a:t>
            </a:r>
            <a:br>
              <a:rPr lang="en-US" sz="1400" b="1" dirty="0">
                <a:latin typeface="Helvetica" pitchFamily="2" charset="0"/>
              </a:rPr>
            </a:br>
            <a:r>
              <a:rPr lang="en-US" sz="1400" dirty="0">
                <a:latin typeface="Helvetica" pitchFamily="2" charset="0"/>
                <a:hlinkClick r:id="rId3"/>
              </a:rPr>
              <a:t>https://www.seminolestate.edu/crm/logo</a:t>
            </a:r>
            <a:endParaRPr lang="en-US" sz="1400" dirty="0">
              <a:latin typeface="Helvetica" pitchFamily="2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F7D8008-C7DB-4FEE-9005-2A9D6D797944}"/>
              </a:ext>
            </a:extLst>
          </p:cNvPr>
          <p:cNvSpPr txBox="1"/>
          <p:nvPr/>
        </p:nvSpPr>
        <p:spPr>
          <a:xfrm>
            <a:off x="3422295" y="3109672"/>
            <a:ext cx="461256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Helvetica" pitchFamily="2" charset="0"/>
              </a:rPr>
              <a:t>Update Images with College Photography</a:t>
            </a:r>
          </a:p>
          <a:p>
            <a:r>
              <a:rPr lang="en-US" sz="1400" dirty="0">
                <a:latin typeface="Helvetica" pitchFamily="2" charset="0"/>
                <a:hlinkClick r:id="rId4"/>
              </a:rPr>
              <a:t>https://seminolestate.photoshelter.com</a:t>
            </a:r>
            <a:endParaRPr lang="en-US" sz="1400" dirty="0"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43619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9527845-3A1C-2879-BD8C-B61C577585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-994172"/>
            <a:ext cx="7886700" cy="994172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1500" dirty="0"/>
              <a:t>End of slide show</a:t>
            </a:r>
          </a:p>
        </p:txBody>
      </p:sp>
      <p:sp>
        <p:nvSpPr>
          <p:cNvPr id="2" name="Rectangle 1" descr="decorative solid">
            <a:extLst>
              <a:ext uri="{FF2B5EF4-FFF2-40B4-BE49-F238E27FC236}">
                <a16:creationId xmlns:a16="http://schemas.microsoft.com/office/drawing/2014/main" id="{D35005EC-BCA0-5F58-A7A2-0E3A44A5C58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308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Seminole State College of Florida logo">
            <a:extLst>
              <a:ext uri="{FF2B5EF4-FFF2-40B4-BE49-F238E27FC236}">
                <a16:creationId xmlns:a16="http://schemas.microsoft.com/office/drawing/2014/main" id="{474FBCB2-30A6-BE83-E9F2-54ABF8C1530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985" y="2554954"/>
            <a:ext cx="2226029" cy="1069367"/>
          </a:xfrm>
          <a:prstGeom prst="rect">
            <a:avLst/>
          </a:prstGeom>
        </p:spPr>
      </p:pic>
      <p:pic>
        <p:nvPicPr>
          <p:cNvPr id="6" name="Picture 5" descr="Seminole State College of Florida, Your Learning Partner for Career Success in white and yellow font on a blue background.">
            <a:extLst>
              <a:ext uri="{FF2B5EF4-FFF2-40B4-BE49-F238E27FC236}">
                <a16:creationId xmlns:a16="http://schemas.microsoft.com/office/drawing/2014/main" id="{CADC9320-4F4F-2134-A60A-7D94635A86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5999" y="3267663"/>
            <a:ext cx="4572000" cy="18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885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tudent Center building on the Sanford/Lake Mary campus of Seminole State College of Florida">
            <a:extLst>
              <a:ext uri="{FF2B5EF4-FFF2-40B4-BE49-F238E27FC236}">
                <a16:creationId xmlns:a16="http://schemas.microsoft.com/office/drawing/2014/main" id="{1B5940FD-114E-443E-9F06-97CE3A213DC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38" b="38"/>
          <a:stretch/>
        </p:blipFill>
        <p:spPr>
          <a:xfrm>
            <a:off x="0" y="1339"/>
            <a:ext cx="9143999" cy="5142162"/>
          </a:xfrm>
          <a:prstGeom prst="rect">
            <a:avLst/>
          </a:prstGeom>
        </p:spPr>
      </p:pic>
      <p:sp>
        <p:nvSpPr>
          <p:cNvPr id="20" name="Rectangle 19" descr="decorative box">
            <a:extLst>
              <a:ext uri="{FF2B5EF4-FFF2-40B4-BE49-F238E27FC236}">
                <a16:creationId xmlns:a16="http://schemas.microsoft.com/office/drawing/2014/main" id="{F3922AD5-958B-7B91-AE7F-D52FC9354F1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2" y="1340"/>
            <a:ext cx="9143999" cy="1828501"/>
          </a:xfrm>
          <a:prstGeom prst="rect">
            <a:avLst/>
          </a:prstGeom>
          <a:solidFill>
            <a:srgbClr val="003087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1" dirty="0"/>
          </a:p>
        </p:txBody>
      </p:sp>
      <p:sp>
        <p:nvSpPr>
          <p:cNvPr id="23" name="object 4">
            <a:extLst>
              <a:ext uri="{FF2B5EF4-FFF2-40B4-BE49-F238E27FC236}">
                <a16:creationId xmlns:a16="http://schemas.microsoft.com/office/drawing/2014/main" id="{E384E91A-3464-9C7F-8167-89C741A84BD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11081" y="533292"/>
            <a:ext cx="4179201" cy="588366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400" b="0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4498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4020202020204" pitchFamily="34" charset="0"/>
                <a:ea typeface="+mj-ea"/>
                <a:cs typeface="Arial Narrow" panose="020B0604020202020204" pitchFamily="34" charset="0"/>
              </a:rPr>
              <a:t>Presentation Title</a:t>
            </a:r>
          </a:p>
        </p:txBody>
      </p:sp>
      <p:sp>
        <p:nvSpPr>
          <p:cNvPr id="24" name="object 4">
            <a:extLst>
              <a:ext uri="{FF2B5EF4-FFF2-40B4-BE49-F238E27FC236}">
                <a16:creationId xmlns:a16="http://schemas.microsoft.com/office/drawing/2014/main" id="{7A9B0B96-8763-6D17-5CCC-744558E752AC}"/>
              </a:ext>
            </a:extLst>
          </p:cNvPr>
          <p:cNvSpPr txBox="1">
            <a:spLocks/>
          </p:cNvSpPr>
          <p:nvPr/>
        </p:nvSpPr>
        <p:spPr>
          <a:xfrm>
            <a:off x="626787" y="1121610"/>
            <a:ext cx="3211662" cy="266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400" b="0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en-IN" sz="2000" dirty="0">
                <a:latin typeface="Arial" panose="020B0604020202020204" pitchFamily="34" charset="0"/>
              </a:rPr>
              <a:t>Subtitle</a:t>
            </a:r>
          </a:p>
        </p:txBody>
      </p:sp>
      <p:pic>
        <p:nvPicPr>
          <p:cNvPr id="22" name="Picture 21" descr="Seminole State College of Florida logo">
            <a:extLst>
              <a:ext uri="{FF2B5EF4-FFF2-40B4-BE49-F238E27FC236}">
                <a16:creationId xmlns:a16="http://schemas.microsoft.com/office/drawing/2014/main" id="{BB0C9C46-6F47-DA74-CD3A-952AABC074A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2299" y="552857"/>
            <a:ext cx="1510156" cy="725467"/>
          </a:xfrm>
          <a:prstGeom prst="rect">
            <a:avLst/>
          </a:prstGeom>
        </p:spPr>
      </p:pic>
      <p:sp>
        <p:nvSpPr>
          <p:cNvPr id="2" name="Subtitle 15">
            <a:extLst>
              <a:ext uri="{FF2B5EF4-FFF2-40B4-BE49-F238E27FC236}">
                <a16:creationId xmlns:a16="http://schemas.microsoft.com/office/drawing/2014/main" id="{FF073C39-30DC-2D34-8EAE-9B276FD9D973}"/>
              </a:ext>
            </a:extLst>
          </p:cNvPr>
          <p:cNvSpPr txBox="1">
            <a:spLocks/>
          </p:cNvSpPr>
          <p:nvPr/>
        </p:nvSpPr>
        <p:spPr>
          <a:xfrm>
            <a:off x="457200" y="4812671"/>
            <a:ext cx="3825303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12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sz="2000" kern="120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b="1" kern="1200">
                <a:solidFill>
                  <a:srgbClr val="404040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IN" sz="600" b="1" dirty="0">
                <a:latin typeface="Helvetica" pitchFamily="2" charset="0"/>
              </a:rPr>
              <a:t>Sanford/Lake Mary Campus</a:t>
            </a:r>
            <a:endParaRPr lang="en-IN" sz="600" dirty="0">
              <a:latin typeface="Helvetica" pitchFamily="2" charset="0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747655" y="608013"/>
            <a:ext cx="6307137" cy="41433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998" b="1" i="0" u="none" strike="noStrike" kern="1200" cap="none" spc="0" normalizeH="0" baseline="0" noProof="0" dirty="0">
                <a:ln>
                  <a:noFill/>
                </a:ln>
                <a:solidFill>
                  <a:srgbClr val="003087"/>
                </a:solidFill>
                <a:effectLst/>
                <a:uLnTx/>
                <a:uFillTx/>
                <a:latin typeface="Arial Narrow" panose="020B0604020202020204" pitchFamily="34" charset="0"/>
                <a:ea typeface="+mj-ea"/>
                <a:cs typeface="Arial Narrow" panose="020B0604020202020204" pitchFamily="34" charset="0"/>
              </a:rPr>
              <a:t>Agenda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78506CA-6181-4DD8-AF84-3569CB02B7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2638128" y="1246188"/>
            <a:ext cx="5137150" cy="26908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1349"/>
              </a:spcAft>
              <a:buClr>
                <a:schemeClr val="tx1">
                  <a:lumMod val="65000"/>
                  <a:lumOff val="35000"/>
                </a:schemeClr>
              </a:buClr>
            </a:pPr>
            <a:r>
              <a:rPr lang="en-US" sz="2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1349"/>
              </a:spcAft>
              <a:buClr>
                <a:schemeClr val="tx1">
                  <a:lumMod val="65000"/>
                  <a:lumOff val="35000"/>
                </a:schemeClr>
              </a:buClr>
            </a:pPr>
            <a:r>
              <a:rPr lang="en-US" sz="2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1349"/>
              </a:spcAft>
              <a:buClr>
                <a:schemeClr val="tx1">
                  <a:lumMod val="65000"/>
                  <a:lumOff val="35000"/>
                </a:schemeClr>
              </a:buClr>
            </a:pPr>
            <a:r>
              <a:rPr lang="en-US" sz="2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ubtitle 15">
            <a:extLst>
              <a:ext uri="{FF2B5EF4-FFF2-40B4-BE49-F238E27FC236}">
                <a16:creationId xmlns:a16="http://schemas.microsoft.com/office/drawing/2014/main" id="{57BB5316-08DD-9EBD-DF60-CB524F2E34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2720969" y="4811097"/>
            <a:ext cx="3825303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12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sz="2000" kern="120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b="1" kern="1200">
                <a:solidFill>
                  <a:srgbClr val="404040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IN" sz="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" pitchFamily="2" charset="0"/>
              </a:rPr>
              <a:t>Presentation Title </a:t>
            </a:r>
            <a:r>
              <a:rPr lang="en-IN" sz="6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" pitchFamily="2" charset="0"/>
              </a:rPr>
              <a:t>| Sub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231345-755A-286B-E250-6C199A001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4958" y="4466419"/>
            <a:ext cx="901657" cy="43314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A2A2FDF-282A-F5BE-C0EF-2DF229891B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0"/>
            <a:ext cx="2170570" cy="5143500"/>
          </a:xfrm>
          <a:prstGeom prst="rect">
            <a:avLst/>
          </a:prstGeom>
          <a:solidFill>
            <a:srgbClr val="6CACE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n illustration of Seminole State’s mascot, Rally Raider.">
            <a:extLst>
              <a:ext uri="{FF2B5EF4-FFF2-40B4-BE49-F238E27FC236}">
                <a16:creationId xmlns:a16="http://schemas.microsoft.com/office/drawing/2014/main" id="{FD3CEED9-35C0-D90B-7D3C-D954F6179C8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6238" t="4588" r="2611" b="3458"/>
          <a:stretch>
            <a:fillRect/>
          </a:stretch>
        </p:blipFill>
        <p:spPr>
          <a:xfrm>
            <a:off x="0" y="288298"/>
            <a:ext cx="2747654" cy="4753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28555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>
            <a:spLocks noGrp="1"/>
          </p:cNvSpPr>
          <p:nvPr>
            <p:ph type="title" idx="4294967295"/>
          </p:nvPr>
        </p:nvSpPr>
        <p:spPr>
          <a:xfrm>
            <a:off x="457200" y="409669"/>
            <a:ext cx="6307028" cy="41524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n-IN" sz="2998" b="1" dirty="0">
                <a:solidFill>
                  <a:srgbClr val="003087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Header one</a:t>
            </a:r>
          </a:p>
        </p:txBody>
      </p:sp>
      <p:sp>
        <p:nvSpPr>
          <p:cNvPr id="8" name="Line 10" descr="decorative line">
            <a:extLst>
              <a:ext uri="{FF2B5EF4-FFF2-40B4-BE49-F238E27FC236}">
                <a16:creationId xmlns:a16="http://schemas.microsoft.com/office/drawing/2014/main" id="{3BD342ED-C5C1-9887-A162-8707F59BFF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7200" y="845660"/>
            <a:ext cx="8144933" cy="52232"/>
          </a:xfrm>
          <a:prstGeom prst="line">
            <a:avLst/>
          </a:prstGeom>
          <a:noFill/>
          <a:ln w="19050">
            <a:solidFill>
              <a:srgbClr val="F1C40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dirty="0">
              <a:solidFill>
                <a:schemeClr val="bg1"/>
              </a:solidFill>
            </a:endParaRPr>
          </a:p>
        </p:txBody>
      </p:sp>
      <p:sp>
        <p:nvSpPr>
          <p:cNvPr id="3" name="Text Placeholder 21">
            <a:extLst>
              <a:ext uri="{FF2B5EF4-FFF2-40B4-BE49-F238E27FC236}">
                <a16:creationId xmlns:a16="http://schemas.microsoft.com/office/drawing/2014/main" id="{813E0393-DFDA-6D7A-346A-387CB5CCB610}"/>
              </a:ext>
            </a:extLst>
          </p:cNvPr>
          <p:cNvSpPr txBox="1">
            <a:spLocks/>
          </p:cNvSpPr>
          <p:nvPr/>
        </p:nvSpPr>
        <p:spPr>
          <a:xfrm>
            <a:off x="824846" y="1228780"/>
            <a:ext cx="7777288" cy="3477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356616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713232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069848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426464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520">
              <a:lnSpc>
                <a:spcPct val="120000"/>
              </a:lnSpc>
              <a:spcBef>
                <a:spcPts val="450"/>
              </a:spcBef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tion</a:t>
            </a:r>
          </a:p>
        </p:txBody>
      </p:sp>
      <p:sp>
        <p:nvSpPr>
          <p:cNvPr id="9" name="Subtitle 15">
            <a:extLst>
              <a:ext uri="{FF2B5EF4-FFF2-40B4-BE49-F238E27FC236}">
                <a16:creationId xmlns:a16="http://schemas.microsoft.com/office/drawing/2014/main" id="{47EFB83A-D02F-4606-B095-B54A5CBAFA08}"/>
              </a:ext>
            </a:extLst>
          </p:cNvPr>
          <p:cNvSpPr txBox="1">
            <a:spLocks/>
          </p:cNvSpPr>
          <p:nvPr/>
        </p:nvSpPr>
        <p:spPr>
          <a:xfrm>
            <a:off x="457200" y="4812671"/>
            <a:ext cx="3825303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12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sz="2000" kern="120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b="1" kern="1200">
                <a:solidFill>
                  <a:srgbClr val="404040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IN" sz="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" pitchFamily="2" charset="0"/>
              </a:rPr>
              <a:t>Presentation Title </a:t>
            </a:r>
            <a:r>
              <a:rPr lang="en-IN" sz="6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" pitchFamily="2" charset="0"/>
              </a:rPr>
              <a:t>| Subtitle</a:t>
            </a:r>
          </a:p>
        </p:txBody>
      </p:sp>
      <p:pic>
        <p:nvPicPr>
          <p:cNvPr id="7" name="Picture 6" descr="Seminole State College of Florida logo">
            <a:extLst>
              <a:ext uri="{FF2B5EF4-FFF2-40B4-BE49-F238E27FC236}">
                <a16:creationId xmlns:a16="http://schemas.microsoft.com/office/drawing/2014/main" id="{9E927A87-5D25-B525-B74F-0598701A5C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4957" y="4466419"/>
            <a:ext cx="901657" cy="433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85643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eminole State College advisor helping a student with their schedule in the advising office at the college.">
            <a:extLst>
              <a:ext uri="{FF2B5EF4-FFF2-40B4-BE49-F238E27FC236}">
                <a16:creationId xmlns:a16="http://schemas.microsoft.com/office/drawing/2014/main" id="{FF424059-797E-13F4-36CA-3EBF6C21AC1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400" t="7546" b="10946"/>
          <a:stretch>
            <a:fillRect/>
          </a:stretch>
        </p:blipFill>
        <p:spPr>
          <a:xfrm>
            <a:off x="-2" y="-1"/>
            <a:ext cx="9143999" cy="5143501"/>
          </a:xfrm>
          <a:prstGeom prst="rect">
            <a:avLst/>
          </a:prstGeom>
        </p:spPr>
      </p:pic>
      <p:sp>
        <p:nvSpPr>
          <p:cNvPr id="6" name="Rectangle 5" descr="decorative box">
            <a:extLst>
              <a:ext uri="{FF2B5EF4-FFF2-40B4-BE49-F238E27FC236}">
                <a16:creationId xmlns:a16="http://schemas.microsoft.com/office/drawing/2014/main" id="{6D3BD269-237B-0B2D-E050-D6110E7FA5D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-1" y="460506"/>
            <a:ext cx="9143999" cy="689198"/>
          </a:xfrm>
          <a:prstGeom prst="rect">
            <a:avLst/>
          </a:prstGeom>
          <a:solidFill>
            <a:srgbClr val="F1C400">
              <a:alpha val="7987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1"/>
          </a:p>
        </p:txBody>
      </p:sp>
      <p:sp>
        <p:nvSpPr>
          <p:cNvPr id="7" name="object 4">
            <a:extLst>
              <a:ext uri="{FF2B5EF4-FFF2-40B4-BE49-F238E27FC236}">
                <a16:creationId xmlns:a16="http://schemas.microsoft.com/office/drawing/2014/main" id="{28925CF0-C81F-95F4-B4C1-9EDDF90083CC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05441" y="633473"/>
            <a:ext cx="5026344" cy="39241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400" b="0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4020202020204" pitchFamily="34" charset="0"/>
                <a:ea typeface="+mj-ea"/>
                <a:cs typeface="Arial Narrow" panose="020B0604020202020204" pitchFamily="34" charset="0"/>
              </a:rPr>
              <a:t>Section Title at Top One</a:t>
            </a:r>
          </a:p>
        </p:txBody>
      </p:sp>
      <p:pic>
        <p:nvPicPr>
          <p:cNvPr id="8" name="Picture 7" descr="Seminole State College of Florida logo">
            <a:extLst>
              <a:ext uri="{FF2B5EF4-FFF2-40B4-BE49-F238E27FC236}">
                <a16:creationId xmlns:a16="http://schemas.microsoft.com/office/drawing/2014/main" id="{1E59EBAF-C911-D0BE-2995-05D8A6B15D5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4958" y="593765"/>
            <a:ext cx="901657" cy="433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4440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>
            <a:spLocks noGrp="1"/>
          </p:cNvSpPr>
          <p:nvPr>
            <p:ph type="title" idx="4294967295"/>
          </p:nvPr>
        </p:nvSpPr>
        <p:spPr>
          <a:xfrm>
            <a:off x="457200" y="409669"/>
            <a:ext cx="6307028" cy="41524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n-IN" sz="2998" b="1" dirty="0">
                <a:solidFill>
                  <a:srgbClr val="003087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Header two</a:t>
            </a:r>
          </a:p>
        </p:txBody>
      </p:sp>
      <p:sp>
        <p:nvSpPr>
          <p:cNvPr id="8" name="Line 10" descr="decorative line">
            <a:extLst>
              <a:ext uri="{FF2B5EF4-FFF2-40B4-BE49-F238E27FC236}">
                <a16:creationId xmlns:a16="http://schemas.microsoft.com/office/drawing/2014/main" id="{3BD342ED-C5C1-9887-A162-8707F59BFF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7200" y="845660"/>
            <a:ext cx="8144933" cy="52232"/>
          </a:xfrm>
          <a:prstGeom prst="line">
            <a:avLst/>
          </a:prstGeom>
          <a:noFill/>
          <a:ln w="19050">
            <a:solidFill>
              <a:srgbClr val="F1C40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dirty="0">
              <a:solidFill>
                <a:schemeClr val="bg1"/>
              </a:solidFill>
            </a:endParaRPr>
          </a:p>
        </p:txBody>
      </p:sp>
      <p:sp>
        <p:nvSpPr>
          <p:cNvPr id="3" name="Text Placeholder 21">
            <a:extLst>
              <a:ext uri="{FF2B5EF4-FFF2-40B4-BE49-F238E27FC236}">
                <a16:creationId xmlns:a16="http://schemas.microsoft.com/office/drawing/2014/main" id="{813E0393-DFDA-6D7A-346A-387CB5CCB610}"/>
              </a:ext>
            </a:extLst>
          </p:cNvPr>
          <p:cNvSpPr txBox="1">
            <a:spLocks/>
          </p:cNvSpPr>
          <p:nvPr/>
        </p:nvSpPr>
        <p:spPr>
          <a:xfrm>
            <a:off x="824846" y="1228780"/>
            <a:ext cx="7777288" cy="3477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356616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713232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069848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426464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520">
              <a:lnSpc>
                <a:spcPct val="120000"/>
              </a:lnSpc>
              <a:spcBef>
                <a:spcPts val="450"/>
              </a:spcBef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tion</a:t>
            </a:r>
          </a:p>
        </p:txBody>
      </p:sp>
      <p:sp>
        <p:nvSpPr>
          <p:cNvPr id="9" name="Subtitle 15">
            <a:extLst>
              <a:ext uri="{FF2B5EF4-FFF2-40B4-BE49-F238E27FC236}">
                <a16:creationId xmlns:a16="http://schemas.microsoft.com/office/drawing/2014/main" id="{47EFB83A-D02F-4606-B095-B54A5CBAFA08}"/>
              </a:ext>
            </a:extLst>
          </p:cNvPr>
          <p:cNvSpPr txBox="1">
            <a:spLocks/>
          </p:cNvSpPr>
          <p:nvPr/>
        </p:nvSpPr>
        <p:spPr>
          <a:xfrm>
            <a:off x="457200" y="4812671"/>
            <a:ext cx="3825303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12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sz="2000" kern="120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b="1" kern="1200">
                <a:solidFill>
                  <a:srgbClr val="404040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IN" sz="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" pitchFamily="2" charset="0"/>
              </a:rPr>
              <a:t>Presentation Title </a:t>
            </a:r>
            <a:r>
              <a:rPr lang="en-IN" sz="6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" pitchFamily="2" charset="0"/>
              </a:rPr>
              <a:t>| Subtitle</a:t>
            </a:r>
          </a:p>
        </p:txBody>
      </p:sp>
      <p:pic>
        <p:nvPicPr>
          <p:cNvPr id="7" name="Picture 6" descr="Seminole State College of Florida logo">
            <a:extLst>
              <a:ext uri="{FF2B5EF4-FFF2-40B4-BE49-F238E27FC236}">
                <a16:creationId xmlns:a16="http://schemas.microsoft.com/office/drawing/2014/main" id="{9E927A87-5D25-B525-B74F-0598701A5C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4957" y="4466419"/>
            <a:ext cx="901657" cy="433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98968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rofessor is helping students  in a classroom lab at Seminole State College of Florida.">
            <a:extLst>
              <a:ext uri="{FF2B5EF4-FFF2-40B4-BE49-F238E27FC236}">
                <a16:creationId xmlns:a16="http://schemas.microsoft.com/office/drawing/2014/main" id="{891611A0-79BD-BF1B-F6F0-40EF25AA9F1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7165" t="14416" b="7252"/>
          <a:stretch>
            <a:fillRect/>
          </a:stretch>
        </p:blipFill>
        <p:spPr>
          <a:xfrm>
            <a:off x="0" y="-1"/>
            <a:ext cx="9143998" cy="5143501"/>
          </a:xfrm>
          <a:prstGeom prst="rect">
            <a:avLst/>
          </a:prstGeom>
        </p:spPr>
      </p:pic>
      <p:sp>
        <p:nvSpPr>
          <p:cNvPr id="3" name="Rectangle 2" descr="Decorative box">
            <a:extLst>
              <a:ext uri="{FF2B5EF4-FFF2-40B4-BE49-F238E27FC236}">
                <a16:creationId xmlns:a16="http://schemas.microsoft.com/office/drawing/2014/main" id="{CAD73991-9B48-5C9A-505C-E00081DA2FF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-1" y="3993796"/>
            <a:ext cx="9143999" cy="689198"/>
          </a:xfrm>
          <a:prstGeom prst="rect">
            <a:avLst/>
          </a:prstGeom>
          <a:solidFill>
            <a:srgbClr val="003087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1" dirty="0"/>
          </a:p>
        </p:txBody>
      </p:sp>
      <p:sp>
        <p:nvSpPr>
          <p:cNvPr id="5" name="object 4">
            <a:extLst>
              <a:ext uri="{FF2B5EF4-FFF2-40B4-BE49-F238E27FC236}">
                <a16:creationId xmlns:a16="http://schemas.microsoft.com/office/drawing/2014/main" id="{C43CAD44-042A-3D38-B7D5-C7F23CD7732F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05441" y="4176190"/>
            <a:ext cx="6099054" cy="39241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400" b="0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4020202020204" pitchFamily="34" charset="0"/>
                <a:ea typeface="+mj-ea"/>
                <a:cs typeface="Arial Narrow" panose="020B0604020202020204" pitchFamily="34" charset="0"/>
              </a:rPr>
              <a:t>Section Title on Bottom</a:t>
            </a:r>
          </a:p>
        </p:txBody>
      </p:sp>
      <p:pic>
        <p:nvPicPr>
          <p:cNvPr id="6" name="Picture 5" descr="Seminole State College of Florida logo">
            <a:extLst>
              <a:ext uri="{FF2B5EF4-FFF2-40B4-BE49-F238E27FC236}">
                <a16:creationId xmlns:a16="http://schemas.microsoft.com/office/drawing/2014/main" id="{5CDED26E-91ED-3B98-79F2-28E4081D1CB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4958" y="4127055"/>
            <a:ext cx="901657" cy="433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63025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>
            <a:spLocks noGrp="1"/>
          </p:cNvSpPr>
          <p:nvPr>
            <p:ph type="title" idx="4294967295"/>
          </p:nvPr>
        </p:nvSpPr>
        <p:spPr>
          <a:xfrm>
            <a:off x="457200" y="409669"/>
            <a:ext cx="6307028" cy="41524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n-IN" sz="2998" b="1" dirty="0">
                <a:solidFill>
                  <a:srgbClr val="003087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Header three</a:t>
            </a:r>
          </a:p>
        </p:txBody>
      </p:sp>
      <p:sp>
        <p:nvSpPr>
          <p:cNvPr id="8" name="Line 10" descr="decorative line">
            <a:extLst>
              <a:ext uri="{FF2B5EF4-FFF2-40B4-BE49-F238E27FC236}">
                <a16:creationId xmlns:a16="http://schemas.microsoft.com/office/drawing/2014/main" id="{3BD342ED-C5C1-9887-A162-8707F59BFF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7200" y="845660"/>
            <a:ext cx="8144933" cy="52232"/>
          </a:xfrm>
          <a:prstGeom prst="line">
            <a:avLst/>
          </a:prstGeom>
          <a:noFill/>
          <a:ln w="19050">
            <a:solidFill>
              <a:srgbClr val="F1C40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dirty="0">
              <a:solidFill>
                <a:schemeClr val="bg1"/>
              </a:solidFill>
            </a:endParaRPr>
          </a:p>
        </p:txBody>
      </p:sp>
      <p:sp>
        <p:nvSpPr>
          <p:cNvPr id="3" name="Text Placeholder 21">
            <a:extLst>
              <a:ext uri="{FF2B5EF4-FFF2-40B4-BE49-F238E27FC236}">
                <a16:creationId xmlns:a16="http://schemas.microsoft.com/office/drawing/2014/main" id="{813E0393-DFDA-6D7A-346A-387CB5CCB610}"/>
              </a:ext>
            </a:extLst>
          </p:cNvPr>
          <p:cNvSpPr txBox="1">
            <a:spLocks/>
          </p:cNvSpPr>
          <p:nvPr/>
        </p:nvSpPr>
        <p:spPr>
          <a:xfrm>
            <a:off x="824846" y="1228780"/>
            <a:ext cx="7777288" cy="3477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356616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713232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069848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426464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520">
              <a:lnSpc>
                <a:spcPct val="120000"/>
              </a:lnSpc>
              <a:spcBef>
                <a:spcPts val="450"/>
              </a:spcBef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tion</a:t>
            </a:r>
          </a:p>
        </p:txBody>
      </p:sp>
      <p:sp>
        <p:nvSpPr>
          <p:cNvPr id="9" name="Subtitle 15">
            <a:extLst>
              <a:ext uri="{FF2B5EF4-FFF2-40B4-BE49-F238E27FC236}">
                <a16:creationId xmlns:a16="http://schemas.microsoft.com/office/drawing/2014/main" id="{47EFB83A-D02F-4606-B095-B54A5CBAFA08}"/>
              </a:ext>
            </a:extLst>
          </p:cNvPr>
          <p:cNvSpPr txBox="1">
            <a:spLocks/>
          </p:cNvSpPr>
          <p:nvPr/>
        </p:nvSpPr>
        <p:spPr>
          <a:xfrm>
            <a:off x="457200" y="4812671"/>
            <a:ext cx="3825303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12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sz="2000" kern="120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b="1" kern="1200">
                <a:solidFill>
                  <a:srgbClr val="404040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IN" sz="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" pitchFamily="2" charset="0"/>
              </a:rPr>
              <a:t>Presentation Title </a:t>
            </a:r>
            <a:r>
              <a:rPr lang="en-IN" sz="6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" pitchFamily="2" charset="0"/>
              </a:rPr>
              <a:t>| Subtitle</a:t>
            </a:r>
          </a:p>
        </p:txBody>
      </p:sp>
      <p:pic>
        <p:nvPicPr>
          <p:cNvPr id="7" name="Picture 6" descr="Seminole State College of Florida logo">
            <a:extLst>
              <a:ext uri="{FF2B5EF4-FFF2-40B4-BE49-F238E27FC236}">
                <a16:creationId xmlns:a16="http://schemas.microsoft.com/office/drawing/2014/main" id="{9E927A87-5D25-B525-B74F-0598701A5C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4957" y="4466419"/>
            <a:ext cx="901657" cy="433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41023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Three students are smiling and using a laptop together in the Sanford/Lake Mary Student Center building at Seminole State College of Florida.">
            <a:extLst>
              <a:ext uri="{FF2B5EF4-FFF2-40B4-BE49-F238E27FC236}">
                <a16:creationId xmlns:a16="http://schemas.microsoft.com/office/drawing/2014/main" id="{24972139-DBE6-BCED-2DD9-F12CDB9E0BD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024" t="4113" b="17280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Rectangle 2" descr="decorative box">
            <a:extLst>
              <a:ext uri="{FF2B5EF4-FFF2-40B4-BE49-F238E27FC236}">
                <a16:creationId xmlns:a16="http://schemas.microsoft.com/office/drawing/2014/main" id="{053E9F87-4D02-A7DC-1CA3-3E4C9B19CF0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-1" y="460506"/>
            <a:ext cx="9143999" cy="689198"/>
          </a:xfrm>
          <a:prstGeom prst="rect">
            <a:avLst/>
          </a:prstGeom>
          <a:solidFill>
            <a:srgbClr val="6CACE4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1"/>
          </a:p>
        </p:txBody>
      </p:sp>
      <p:sp>
        <p:nvSpPr>
          <p:cNvPr id="5" name="object 4">
            <a:extLst>
              <a:ext uri="{FF2B5EF4-FFF2-40B4-BE49-F238E27FC236}">
                <a16:creationId xmlns:a16="http://schemas.microsoft.com/office/drawing/2014/main" id="{2B39BF84-3881-2E6E-6D1E-742053E8FD08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05441" y="633473"/>
            <a:ext cx="5026344" cy="39241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400" b="0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4020202020204" pitchFamily="34" charset="0"/>
                <a:ea typeface="+mj-ea"/>
                <a:cs typeface="Arial Narrow" panose="020B0604020202020204" pitchFamily="34" charset="0"/>
              </a:rPr>
              <a:t>Section Title at Top Two</a:t>
            </a:r>
          </a:p>
        </p:txBody>
      </p:sp>
      <p:pic>
        <p:nvPicPr>
          <p:cNvPr id="6" name="Picture 5" descr="Seminole State College of Florida logo">
            <a:extLst>
              <a:ext uri="{FF2B5EF4-FFF2-40B4-BE49-F238E27FC236}">
                <a16:creationId xmlns:a16="http://schemas.microsoft.com/office/drawing/2014/main" id="{1B4142E0-0A83-1090-6986-BBBEEE243AF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4958" y="593765"/>
            <a:ext cx="901657" cy="433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70558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319</TotalTime>
  <Words>202</Words>
  <Application>Microsoft Office PowerPoint</Application>
  <PresentationFormat>On-screen Show (16:9)</PresentationFormat>
  <Paragraphs>39</Paragraphs>
  <Slides>10</Slides>
  <Notes>5</Notes>
  <HiddenSlides>1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rial</vt:lpstr>
      <vt:lpstr>Arial Narrow</vt:lpstr>
      <vt:lpstr>Calibri</vt:lpstr>
      <vt:lpstr>Calibri Light</vt:lpstr>
      <vt:lpstr>Helvetica</vt:lpstr>
      <vt:lpstr>Office Theme</vt:lpstr>
      <vt:lpstr>think-cell Slide</vt:lpstr>
      <vt:lpstr>Template Branding</vt:lpstr>
      <vt:lpstr>Presentation Title</vt:lpstr>
      <vt:lpstr>Agenda</vt:lpstr>
      <vt:lpstr>Header one</vt:lpstr>
      <vt:lpstr>Section Title at Top One</vt:lpstr>
      <vt:lpstr>Header two</vt:lpstr>
      <vt:lpstr>Section Title on Bottom</vt:lpstr>
      <vt:lpstr>Header three</vt:lpstr>
      <vt:lpstr>Section Title at Top Two</vt:lpstr>
      <vt:lpstr>End of slide show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illian Baco</dc:creator>
  <cp:lastModifiedBy>Alyson Linder</cp:lastModifiedBy>
  <cp:revision>28</cp:revision>
  <dcterms:created xsi:type="dcterms:W3CDTF">2024-03-25T18:15:56Z</dcterms:created>
  <dcterms:modified xsi:type="dcterms:W3CDTF">2026-05-18T12:05:05Z</dcterms:modified>
</cp:coreProperties>
</file>